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3"/>
  </p:notesMasterIdLst>
  <p:sldIdLst>
    <p:sldId id="4661" r:id="rId5"/>
    <p:sldId id="4660" r:id="rId6"/>
    <p:sldId id="4672" r:id="rId7"/>
    <p:sldId id="4662" r:id="rId8"/>
    <p:sldId id="4671" r:id="rId9"/>
    <p:sldId id="4667" r:id="rId10"/>
    <p:sldId id="4668" r:id="rId11"/>
    <p:sldId id="270" r:id="rId12"/>
  </p:sldIdLst>
  <p:sldSz cx="9144000" cy="5143500" type="screen16x9"/>
  <p:notesSz cx="6858000" cy="9144000"/>
  <p:defaultTextStyle>
    <a:defPPr>
      <a:defRPr lang="nb-NO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ta Hole Greve" initials="MHG" lastIdx="1" clrIdx="0">
    <p:extLst>
      <p:ext uri="{19B8F6BF-5375-455C-9EA6-DF929625EA0E}">
        <p15:presenceInfo xmlns:p15="http://schemas.microsoft.com/office/powerpoint/2012/main" userId="S::marta.hole.greve@finansforbundet.no::c5da4b28-42b4-4d89-aa05-09a3d1fa7e2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831" autoAdjust="0"/>
    <p:restoredTop sz="94660"/>
  </p:normalViewPr>
  <p:slideViewPr>
    <p:cSldViewPr snapToGrid="0">
      <p:cViewPr varScale="1">
        <p:scale>
          <a:sx n="88" d="100"/>
          <a:sy n="88" d="100"/>
        </p:scale>
        <p:origin x="652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733D920-670F-458B-8CE1-4538B5C4DFB7}" type="datetimeFigureOut">
              <a:rPr lang="nb-NO" smtClean="0"/>
              <a:t>26.10.2021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FA791C1-6885-45A0-8867-118A49ADED0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280307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E13772-4721-4F99-931D-F8B29249B8BD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349138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 helside #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7">
            <a:extLst>
              <a:ext uri="{FF2B5EF4-FFF2-40B4-BE49-F238E27FC236}">
                <a16:creationId xmlns:a16="http://schemas.microsoft.com/office/drawing/2014/main" id="{2C0B3D57-411E-47D4-85B7-F3C77FC9059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5043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1260000">
            <a:normAutofit/>
          </a:bodyPr>
          <a:lstStyle>
            <a:lvl1pPr marL="230400" indent="-230400" algn="ctr" defTabSz="6858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200">
                <a:solidFill>
                  <a:schemeClr val="accent2"/>
                </a:solidFill>
              </a:defRPr>
            </a:lvl1pPr>
          </a:lstStyle>
          <a:p>
            <a:r>
              <a:rPr lang="nb-NO" dirty="0"/>
              <a:t>Dra inn bildet, klikk på ikonet, eller benytt knappen i menyen</a:t>
            </a:r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04063" y="2000726"/>
            <a:ext cx="6408801" cy="1107996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600"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04063" y="4311253"/>
            <a:ext cx="6408801" cy="369332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0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14" name="Plassholder for tekst 13">
            <a:extLst>
              <a:ext uri="{FF2B5EF4-FFF2-40B4-BE49-F238E27FC236}">
                <a16:creationId xmlns:a16="http://schemas.microsoft.com/office/drawing/2014/main" id="{B81604C4-9D40-4CE9-89EA-BE801C01D5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4064" y="504064"/>
            <a:ext cx="1525527" cy="423673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424064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504064" y="1584199"/>
            <a:ext cx="3564445" cy="2664333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824023" y="1584198"/>
            <a:ext cx="3564445" cy="2664333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651F3-9B16-40C6-B209-3688FC9C95F6}" type="datetimeFigureOut">
              <a:rPr lang="nb-NO" smtClean="0"/>
              <a:t>26.10.2021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132744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tekst og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ssholder for bilde 9">
            <a:extLst>
              <a:ext uri="{FF2B5EF4-FFF2-40B4-BE49-F238E27FC236}">
                <a16:creationId xmlns:a16="http://schemas.microsoft.com/office/drawing/2014/main" id="{2936CF70-4669-401C-8A51-CB1111C6A7D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579554" y="0"/>
            <a:ext cx="3564446" cy="5143500"/>
          </a:xfrm>
          <a:prstGeom prst="rect">
            <a:avLst/>
          </a:prstGeom>
        </p:spPr>
        <p:txBody>
          <a:bodyPr tIns="532867"/>
          <a:lstStyle>
            <a:lvl1pPr marL="230400" indent="-230400" algn="ctr" defTabSz="6858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/>
            </a:lvl1pPr>
          </a:lstStyle>
          <a:p>
            <a:r>
              <a:rPr lang="nb-NO" dirty="0"/>
              <a:t>Dra inn bildet, eller klikk på ikonet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04064" y="506652"/>
            <a:ext cx="4320540" cy="775597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504063" y="1584199"/>
            <a:ext cx="4320540" cy="2664333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651F3-9B16-40C6-B209-3688FC9C95F6}" type="datetimeFigureOut">
              <a:rPr lang="nb-NO" smtClean="0"/>
              <a:t>26.10.2021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C2182116-293A-4BA6-B6BF-A4A17BE93FE2}"/>
              </a:ext>
            </a:extLst>
          </p:cNvPr>
          <p:cNvSpPr/>
          <p:nvPr userDrawn="1"/>
        </p:nvSpPr>
        <p:spPr>
          <a:xfrm>
            <a:off x="0" y="0"/>
            <a:ext cx="89941" cy="51450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087392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Helsides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bilde 5">
            <a:extLst>
              <a:ext uri="{FF2B5EF4-FFF2-40B4-BE49-F238E27FC236}">
                <a16:creationId xmlns:a16="http://schemas.microsoft.com/office/drawing/2014/main" id="{6C5804B3-5633-411E-AD0B-D4E65AB0BDC8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0" y="0"/>
            <a:ext cx="9144000" cy="5143500"/>
          </a:xfrm>
        </p:spPr>
        <p:txBody>
          <a:bodyPr tIns="1800000"/>
          <a:lstStyle>
            <a:lvl1pPr marL="230400" indent="-230400" algn="ctr" defTabSz="6858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651F3-9B16-40C6-B209-3688FC9C95F6}" type="datetimeFigureOut">
              <a:rPr lang="nb-NO" smtClean="0"/>
              <a:t>26.10.2021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2664729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651F3-9B16-40C6-B209-3688FC9C95F6}" type="datetimeFigureOut">
              <a:rPr lang="nb-NO" smtClean="0"/>
              <a:t>26.10.2021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9804779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ogoside #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k 5">
            <a:extLst>
              <a:ext uri="{FF2B5EF4-FFF2-40B4-BE49-F238E27FC236}">
                <a16:creationId xmlns:a16="http://schemas.microsoft.com/office/drawing/2014/main" id="{1E86321D-FD34-BE44-A9E3-6672B82EEE5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2239884" y="3280687"/>
            <a:ext cx="4712851" cy="348751"/>
          </a:xfrm>
          <a:prstGeom prst="rect">
            <a:avLst/>
          </a:prstGeom>
        </p:spPr>
      </p:pic>
      <p:pic>
        <p:nvPicPr>
          <p:cNvPr id="5" name="Bilde 6" descr="Et bilde som inneholder tekst, utklipp, servise&#10;&#10;Automatisk generert beskrivelse">
            <a:extLst>
              <a:ext uri="{FF2B5EF4-FFF2-40B4-BE49-F238E27FC236}">
                <a16:creationId xmlns:a16="http://schemas.microsoft.com/office/drawing/2014/main" id="{F37FC6CA-49F8-224C-AC77-614DC8436E5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767434" y="1447801"/>
            <a:ext cx="3657751" cy="1017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415436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ogoside #2">
    <p:bg>
      <p:bgPr>
        <a:solidFill>
          <a:schemeClr val="l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k 5">
            <a:extLst>
              <a:ext uri="{FF2B5EF4-FFF2-40B4-BE49-F238E27FC236}">
                <a16:creationId xmlns:a16="http://schemas.microsoft.com/office/drawing/2014/main" id="{EBCD8F0B-3695-6744-9AEF-C03DE949029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2239884" y="3280687"/>
            <a:ext cx="4712851" cy="348750"/>
          </a:xfrm>
          <a:prstGeom prst="rect">
            <a:avLst/>
          </a:prstGeom>
        </p:spPr>
      </p:pic>
      <p:pic>
        <p:nvPicPr>
          <p:cNvPr id="8" name="Bilde 6">
            <a:extLst>
              <a:ext uri="{FF2B5EF4-FFF2-40B4-BE49-F238E27FC236}">
                <a16:creationId xmlns:a16="http://schemas.microsoft.com/office/drawing/2014/main" id="{F63BDBFC-0626-E84E-BF2F-4449715BE3E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2767434" y="1448415"/>
            <a:ext cx="3657751" cy="10160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081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651F3-9B16-40C6-B209-3688FC9C95F6}" type="datetimeFigureOut">
              <a:rPr lang="nb-NO" smtClean="0"/>
              <a:t>26.10.2021</a:t>
            </a:fld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438400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tellysbilde helside #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 descr="Et bilde som inneholder person, klær, kvinne, bygning&#10;&#10;Automatisk generert beskrivelse">
            <a:extLst>
              <a:ext uri="{FF2B5EF4-FFF2-40B4-BE49-F238E27FC236}">
                <a16:creationId xmlns:a16="http://schemas.microsoft.com/office/drawing/2014/main" id="{EBED1C69-63B7-464B-9862-EF96BF238B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04062" y="1613099"/>
            <a:ext cx="5940742" cy="1107996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600"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6" name="Undertittel 2">
            <a:extLst>
              <a:ext uri="{FF2B5EF4-FFF2-40B4-BE49-F238E27FC236}">
                <a16:creationId xmlns:a16="http://schemas.microsoft.com/office/drawing/2014/main" id="{AB77ECCB-CABB-4DBC-BAEF-845CA3B4058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4063" y="4311253"/>
            <a:ext cx="5040630" cy="184666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0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b-NO"/>
              <a:t>Klikk for å skrive navn på foredragsholder</a:t>
            </a:r>
          </a:p>
        </p:txBody>
      </p:sp>
      <p:sp>
        <p:nvSpPr>
          <p:cNvPr id="7" name="Plassholder for tekst 3">
            <a:extLst>
              <a:ext uri="{FF2B5EF4-FFF2-40B4-BE49-F238E27FC236}">
                <a16:creationId xmlns:a16="http://schemas.microsoft.com/office/drawing/2014/main" id="{93B5DB81-C695-4013-9FFB-2F3343D191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04063" y="4495919"/>
            <a:ext cx="5040630" cy="184666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Tx/>
              <a:buNone/>
              <a:defRPr sz="1200" b="0" i="0" u="none" cap="none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nb-NO"/>
              <a:t>Klikk for å skrive in dato</a:t>
            </a:r>
          </a:p>
        </p:txBody>
      </p:sp>
      <p:pic>
        <p:nvPicPr>
          <p:cNvPr id="4" name="Grafikk 3">
            <a:extLst>
              <a:ext uri="{FF2B5EF4-FFF2-40B4-BE49-F238E27FC236}">
                <a16:creationId xmlns:a16="http://schemas.microsoft.com/office/drawing/2014/main" id="{F975469E-B1F5-4703-9F76-244D293060C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04063" y="505808"/>
            <a:ext cx="1534287" cy="421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92453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 helside #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7">
            <a:extLst>
              <a:ext uri="{FF2B5EF4-FFF2-40B4-BE49-F238E27FC236}">
                <a16:creationId xmlns:a16="http://schemas.microsoft.com/office/drawing/2014/main" id="{2C0B3D57-411E-47D4-85B7-F3C77FC9059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5043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1260000">
            <a:normAutofit/>
          </a:bodyPr>
          <a:lstStyle>
            <a:lvl1pPr marL="230400" indent="-230400" algn="ctr" defTabSz="6858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200">
                <a:solidFill>
                  <a:schemeClr val="lt1"/>
                </a:solidFill>
              </a:defRPr>
            </a:lvl1pPr>
          </a:lstStyle>
          <a:p>
            <a:r>
              <a:rPr lang="nb-NO" dirty="0"/>
              <a:t>Dra inn bildet, klikk på ikonet, eller benytt knappen i menyen</a:t>
            </a:r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04063" y="2000726"/>
            <a:ext cx="6408801" cy="1107996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600"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04063" y="4311253"/>
            <a:ext cx="6408801" cy="369332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0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14" name="Plassholder for tekst 13">
            <a:extLst>
              <a:ext uri="{FF2B5EF4-FFF2-40B4-BE49-F238E27FC236}">
                <a16:creationId xmlns:a16="http://schemas.microsoft.com/office/drawing/2014/main" id="{B81604C4-9D40-4CE9-89EA-BE801C01D5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4064" y="504064"/>
            <a:ext cx="1525527" cy="423673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638816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helside #3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7">
            <a:extLst>
              <a:ext uri="{FF2B5EF4-FFF2-40B4-BE49-F238E27FC236}">
                <a16:creationId xmlns:a16="http://schemas.microsoft.com/office/drawing/2014/main" id="{2C0B3D57-411E-47D4-85B7-F3C77FC9059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1" cy="5145043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 tIns="1260000"/>
          <a:lstStyle>
            <a:lvl1pPr marL="230400" indent="-230400" algn="ctr" defTabSz="6858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600">
                <a:solidFill>
                  <a:schemeClr val="lt1"/>
                </a:solidFill>
              </a:defRPr>
            </a:lvl1pPr>
          </a:lstStyle>
          <a:p>
            <a:r>
              <a:rPr lang="nb-NO" dirty="0"/>
              <a:t>Dra inn bildet, klikk på ikonet, eller benytt knappen i menyen</a:t>
            </a:r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04062" y="2000726"/>
            <a:ext cx="6408801" cy="1107996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600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04064" y="4311253"/>
            <a:ext cx="6408801" cy="369332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00">
                <a:solidFill>
                  <a:schemeClr val="lt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29048E92-749D-4CAC-9D3B-CC16E6C1909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4064" y="504064"/>
            <a:ext cx="1525527" cy="423673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428446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 halvside #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04062" y="3583424"/>
            <a:ext cx="8141113" cy="553998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600"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04062" y="4311253"/>
            <a:ext cx="5953887" cy="369332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0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8" name="Plassholder for bilde 7">
            <a:extLst>
              <a:ext uri="{FF2B5EF4-FFF2-40B4-BE49-F238E27FC236}">
                <a16:creationId xmlns:a16="http://schemas.microsoft.com/office/drawing/2014/main" id="{2C0B3D57-411E-47D4-85B7-F3C77FC9059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1"/>
            <a:ext cx="9144000" cy="3312414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32867">
            <a:normAutofit/>
          </a:bodyPr>
          <a:lstStyle>
            <a:lvl1pPr marL="230400" indent="-230400" algn="ctr" defTabSz="6858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200">
                <a:solidFill>
                  <a:schemeClr val="lt1"/>
                </a:solidFill>
              </a:defRPr>
            </a:lvl1pPr>
          </a:lstStyle>
          <a:p>
            <a:r>
              <a:rPr lang="nb-NO" dirty="0"/>
              <a:t>Dra inn bildet, eller klikk på ikonet</a:t>
            </a:r>
          </a:p>
        </p:txBody>
      </p:sp>
      <p:pic>
        <p:nvPicPr>
          <p:cNvPr id="9" name="Grafikk 8">
            <a:extLst>
              <a:ext uri="{FF2B5EF4-FFF2-40B4-BE49-F238E27FC236}">
                <a16:creationId xmlns:a16="http://schemas.microsoft.com/office/drawing/2014/main" id="{E91F3D62-550C-4D3A-8A25-F7B66902C3F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110889" y="4212527"/>
            <a:ext cx="1534287" cy="421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09687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 halvside #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04062" y="3583424"/>
            <a:ext cx="8141113" cy="553998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600"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04062" y="4311253"/>
            <a:ext cx="5953887" cy="369332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0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8" name="Plassholder for bilde 7">
            <a:extLst>
              <a:ext uri="{FF2B5EF4-FFF2-40B4-BE49-F238E27FC236}">
                <a16:creationId xmlns:a16="http://schemas.microsoft.com/office/drawing/2014/main" id="{2C0B3D57-411E-47D4-85B7-F3C77FC9059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1"/>
            <a:ext cx="9144000" cy="3312414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32867">
            <a:normAutofit/>
          </a:bodyPr>
          <a:lstStyle>
            <a:lvl1pPr marL="230400" indent="-230400" algn="ctr" defTabSz="6858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200">
                <a:solidFill>
                  <a:schemeClr val="lt1"/>
                </a:solidFill>
              </a:defRPr>
            </a:lvl1pPr>
          </a:lstStyle>
          <a:p>
            <a:r>
              <a:rPr lang="nb-NO" dirty="0"/>
              <a:t>Dra inn bildet, eller klikk på ikonet</a:t>
            </a:r>
          </a:p>
        </p:txBody>
      </p:sp>
      <p:pic>
        <p:nvPicPr>
          <p:cNvPr id="9" name="Grafikk 8">
            <a:extLst>
              <a:ext uri="{FF2B5EF4-FFF2-40B4-BE49-F238E27FC236}">
                <a16:creationId xmlns:a16="http://schemas.microsoft.com/office/drawing/2014/main" id="{E91F3D62-550C-4D3A-8A25-F7B66902C3F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110889" y="4212527"/>
            <a:ext cx="1534287" cy="421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25027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 halvside #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04062" y="3583424"/>
            <a:ext cx="8141113" cy="553998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600"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04062" y="4311253"/>
            <a:ext cx="5953887" cy="369332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0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8" name="Plassholder for bilde 7">
            <a:extLst>
              <a:ext uri="{FF2B5EF4-FFF2-40B4-BE49-F238E27FC236}">
                <a16:creationId xmlns:a16="http://schemas.microsoft.com/office/drawing/2014/main" id="{2C0B3D57-411E-47D4-85B7-F3C77FC9059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1"/>
            <a:ext cx="9144000" cy="3312414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32867">
            <a:normAutofit/>
          </a:bodyPr>
          <a:lstStyle>
            <a:lvl1pPr marL="230400" indent="-230400" algn="ctr" defTabSz="6858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200">
                <a:solidFill>
                  <a:schemeClr val="lt1"/>
                </a:solidFill>
              </a:defRPr>
            </a:lvl1pPr>
          </a:lstStyle>
          <a:p>
            <a:r>
              <a:rPr lang="nb-NO" dirty="0"/>
              <a:t>Dra inn bildet, eller klikk på ikonet</a:t>
            </a:r>
          </a:p>
        </p:txBody>
      </p:sp>
      <p:pic>
        <p:nvPicPr>
          <p:cNvPr id="9" name="Grafikk 8">
            <a:extLst>
              <a:ext uri="{FF2B5EF4-FFF2-40B4-BE49-F238E27FC236}">
                <a16:creationId xmlns:a16="http://schemas.microsoft.com/office/drawing/2014/main" id="{E91F3D62-550C-4D3A-8A25-F7B66902C3F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110889" y="4212527"/>
            <a:ext cx="1534287" cy="421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78932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04063" y="2000726"/>
            <a:ext cx="3330416" cy="1107996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600"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04063" y="4311253"/>
            <a:ext cx="3330416" cy="369332"/>
          </a:xfrm>
        </p:spPr>
        <p:txBody>
          <a:bodyPr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20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8" name="Plassholder for bilde 7">
            <a:extLst>
              <a:ext uri="{FF2B5EF4-FFF2-40B4-BE49-F238E27FC236}">
                <a16:creationId xmlns:a16="http://schemas.microsoft.com/office/drawing/2014/main" id="{2C0B3D57-411E-47D4-85B7-F3C77FC9059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048125" y="0"/>
            <a:ext cx="5095875" cy="5145043"/>
          </a:xfrm>
          <a:prstGeom prst="rect">
            <a:avLst/>
          </a:prstGeom>
          <a:solidFill>
            <a:schemeClr val="bg1"/>
          </a:solidFill>
        </p:spPr>
        <p:txBody>
          <a:bodyPr tIns="532867">
            <a:normAutofit/>
          </a:bodyPr>
          <a:lstStyle>
            <a:lvl1pPr marL="230400" indent="-230400" algn="ctr" defTabSz="6858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200"/>
            </a:lvl1pPr>
          </a:lstStyle>
          <a:p>
            <a:r>
              <a:rPr lang="nb-NO" dirty="0"/>
              <a:t>Dra inn bildet, eller klikk på ikonet</a:t>
            </a:r>
          </a:p>
        </p:txBody>
      </p:sp>
      <p:pic>
        <p:nvPicPr>
          <p:cNvPr id="9" name="Grafikk 8">
            <a:extLst>
              <a:ext uri="{FF2B5EF4-FFF2-40B4-BE49-F238E27FC236}">
                <a16:creationId xmlns:a16="http://schemas.microsoft.com/office/drawing/2014/main" id="{E91F3D62-550C-4D3A-8A25-F7B66902C3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4063" y="495610"/>
            <a:ext cx="1534287" cy="421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04218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08126" y="504063"/>
            <a:ext cx="6353937" cy="775597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E791FCAF-84B5-4907-ADC8-0FE5B5A1DFA7}"/>
              </a:ext>
            </a:extLst>
          </p:cNvPr>
          <p:cNvSpPr/>
          <p:nvPr userDrawn="1"/>
        </p:nvSpPr>
        <p:spPr>
          <a:xfrm>
            <a:off x="0" y="0"/>
            <a:ext cx="89941" cy="51450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1" name="Plassholder for tekst 10">
            <a:extLst>
              <a:ext uri="{FF2B5EF4-FFF2-40B4-BE49-F238E27FC236}">
                <a16:creationId xmlns:a16="http://schemas.microsoft.com/office/drawing/2014/main" id="{5CF839F6-B904-4443-8190-2BF8F942EC4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9364" y="1917954"/>
            <a:ext cx="5858636" cy="2664333"/>
          </a:xfrm>
          <a:prstGeom prst="rect">
            <a:avLst/>
          </a:prstGeom>
        </p:spPr>
        <p:txBody>
          <a:bodyPr lIns="0" tIns="0" rIns="0" bIns="0"/>
          <a:lstStyle>
            <a:lvl1pPr marL="360000" indent="-360000" algn="l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defRPr sz="2000" b="1" i="0" u="none" cap="none">
                <a:solidFill>
                  <a:schemeClr val="accent1"/>
                </a:solidFill>
                <a:latin typeface="+mn-lt"/>
              </a:defRPr>
            </a:lvl1pPr>
            <a:lvl2pPr marL="460800" indent="-23040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b="0" i="0" u="none" cap="none">
                <a:solidFill>
                  <a:srgbClr val="333333"/>
                </a:solidFill>
                <a:latin typeface="+mn-lt"/>
              </a:defRPr>
            </a:lvl2pPr>
            <a:lvl3pPr marL="691200" indent="-23040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b="0" i="0" u="none" cap="none">
                <a:solidFill>
                  <a:srgbClr val="333333"/>
                </a:solidFill>
                <a:latin typeface="+mn-lt"/>
              </a:defRPr>
            </a:lvl3pPr>
            <a:lvl4pPr marL="921600" indent="-23040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i="0" u="none" cap="none">
                <a:solidFill>
                  <a:srgbClr val="333333"/>
                </a:solidFill>
                <a:latin typeface="+mn-lt"/>
              </a:defRPr>
            </a:lvl4pPr>
            <a:lvl5pPr marL="1152000" indent="-23040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i="0" u="none" cap="none">
                <a:solidFill>
                  <a:srgbClr val="333333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pic>
        <p:nvPicPr>
          <p:cNvPr id="13" name="Bilde 12" descr="Et bilde som inneholder klokke, tegning&#10;&#10;Automatisk generert beskrivelse">
            <a:extLst>
              <a:ext uri="{FF2B5EF4-FFF2-40B4-BE49-F238E27FC236}">
                <a16:creationId xmlns:a16="http://schemas.microsoft.com/office/drawing/2014/main" id="{1C378529-6813-40B3-AD9D-835F4F439A5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298432" y="3703317"/>
            <a:ext cx="1845568" cy="1440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68698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651F3-9B16-40C6-B209-3688FC9C95F6}" type="datetimeFigureOut">
              <a:rPr lang="nb-NO" smtClean="0"/>
              <a:t>26.10.2021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125582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2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504063" y="504063"/>
            <a:ext cx="7886699" cy="775597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04063" y="1584198"/>
            <a:ext cx="7886700" cy="266433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1273457" y="4636848"/>
            <a:ext cx="634666" cy="1385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900">
                <a:solidFill>
                  <a:schemeClr val="dk2"/>
                </a:solidFill>
              </a:defRPr>
            </a:lvl1pPr>
          </a:lstStyle>
          <a:p>
            <a:pPr algn="ctr"/>
            <a:fld id="{983651F3-9B16-40C6-B209-3688FC9C95F6}" type="datetimeFigureOut">
              <a:rPr lang="nb-NO" smtClean="0"/>
              <a:pPr algn="ctr"/>
              <a:t>26.10.2021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2450983" y="4636848"/>
            <a:ext cx="5939779" cy="1385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900">
                <a:solidFill>
                  <a:schemeClr val="dk2"/>
                </a:solidFill>
              </a:defRPr>
            </a:lvl1pPr>
          </a:lstStyle>
          <a:p>
            <a:pPr algn="l"/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98989" y="4636848"/>
            <a:ext cx="231608" cy="1385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900">
                <a:solidFill>
                  <a:schemeClr val="dk2"/>
                </a:solidFill>
              </a:defRPr>
            </a:lvl1pPr>
          </a:lstStyle>
          <a:p>
            <a:pPr algn="l"/>
            <a:fld id="{5751DFAA-887F-4071-8EAD-E8CA316FCF06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65466A34-0097-46EB-9B78-0D49844F722A}"/>
              </a:ext>
            </a:extLst>
          </p:cNvPr>
          <p:cNvSpPr/>
          <p:nvPr userDrawn="1"/>
        </p:nvSpPr>
        <p:spPr>
          <a:xfrm>
            <a:off x="0" y="0"/>
            <a:ext cx="89941" cy="51450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9" name="Grafikk 8">
            <a:extLst>
              <a:ext uri="{FF2B5EF4-FFF2-40B4-BE49-F238E27FC236}">
                <a16:creationId xmlns:a16="http://schemas.microsoft.com/office/drawing/2014/main" id="{071BE956-B80C-4012-8015-F4A4B2C35140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8443056" y="4493361"/>
            <a:ext cx="392727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38571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4" r:id="rId2"/>
    <p:sldLayoutId id="2147483662" r:id="rId3"/>
    <p:sldLayoutId id="2147483663" r:id="rId4"/>
    <p:sldLayoutId id="2147483665" r:id="rId5"/>
    <p:sldLayoutId id="2147483666" r:id="rId6"/>
    <p:sldLayoutId id="2147483661" r:id="rId7"/>
    <p:sldLayoutId id="2147483660" r:id="rId8"/>
    <p:sldLayoutId id="2147483650" r:id="rId9"/>
    <p:sldLayoutId id="2147483652" r:id="rId10"/>
    <p:sldLayoutId id="2147483656" r:id="rId11"/>
    <p:sldLayoutId id="2147483657" r:id="rId12"/>
    <p:sldLayoutId id="2147483654" r:id="rId13"/>
    <p:sldLayoutId id="2147483659" r:id="rId14"/>
    <p:sldLayoutId id="2147483658" r:id="rId15"/>
    <p:sldLayoutId id="2147483655" r:id="rId16"/>
    <p:sldLayoutId id="2147483667" r:id="rId17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230400" indent="-230400" algn="l" defTabSz="685800" rtl="0" eaLnBrk="1" latinLnBrk="0" hangingPunct="1">
        <a:lnSpc>
          <a:spcPct val="100000"/>
        </a:lnSpc>
        <a:spcBef>
          <a:spcPts val="800"/>
        </a:spcBef>
        <a:buClr>
          <a:schemeClr val="accent1"/>
        </a:buClr>
        <a:buFont typeface="Wingdings" panose="05000000000000000000" pitchFamily="2" charset="2"/>
        <a:buChar char="§"/>
        <a:defRPr sz="2000" kern="1200">
          <a:solidFill>
            <a:schemeClr val="dk2"/>
          </a:solidFill>
          <a:latin typeface="+mn-lt"/>
          <a:ea typeface="+mn-ea"/>
          <a:cs typeface="+mn-cs"/>
        </a:defRPr>
      </a:lvl1pPr>
      <a:lvl2pPr marL="460800" indent="-230400" algn="l" defTabSz="685800" rtl="0" eaLnBrk="1" latinLnBrk="0" hangingPunct="1">
        <a:lnSpc>
          <a:spcPct val="100000"/>
        </a:lnSpc>
        <a:spcBef>
          <a:spcPts val="8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dk2"/>
          </a:solidFill>
          <a:latin typeface="+mn-lt"/>
          <a:ea typeface="+mn-ea"/>
          <a:cs typeface="+mn-cs"/>
        </a:defRPr>
      </a:lvl2pPr>
      <a:lvl3pPr marL="691200" indent="-230400" algn="l" defTabSz="685800" rtl="0" eaLnBrk="1" latinLnBrk="0" hangingPunct="1">
        <a:lnSpc>
          <a:spcPct val="100000"/>
        </a:lnSpc>
        <a:spcBef>
          <a:spcPts val="8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dk2"/>
          </a:solidFill>
          <a:latin typeface="+mn-lt"/>
          <a:ea typeface="+mn-ea"/>
          <a:cs typeface="+mn-cs"/>
        </a:defRPr>
      </a:lvl3pPr>
      <a:lvl4pPr marL="921600" indent="-230400" algn="l" defTabSz="685800" rtl="0" eaLnBrk="1" latinLnBrk="0" hangingPunct="1">
        <a:lnSpc>
          <a:spcPct val="100000"/>
        </a:lnSpc>
        <a:spcBef>
          <a:spcPts val="800"/>
        </a:spcBef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dk2"/>
          </a:solidFill>
          <a:latin typeface="+mn-lt"/>
          <a:ea typeface="+mn-ea"/>
          <a:cs typeface="+mn-cs"/>
        </a:defRPr>
      </a:lvl4pPr>
      <a:lvl5pPr marL="1152000" indent="-230400" algn="l" defTabSz="685800" rtl="0" eaLnBrk="1" latinLnBrk="0" hangingPunct="1">
        <a:lnSpc>
          <a:spcPct val="100000"/>
        </a:lnSpc>
        <a:spcBef>
          <a:spcPts val="800"/>
        </a:spcBef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dk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22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1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2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3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22.png"/><Relationship Id="rId12" Type="http://schemas.openxmlformats.org/officeDocument/2006/relationships/image" Target="../media/image32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0.emf"/><Relationship Id="rId11" Type="http://schemas.openxmlformats.org/officeDocument/2006/relationships/image" Target="../media/image31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30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23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37.sv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6.png"/><Relationship Id="rId5" Type="http://schemas.openxmlformats.org/officeDocument/2006/relationships/image" Target="../media/image35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39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portal.attensi.com/finansforbundet/product/7148" TargetMode="External"/><Relationship Id="rId2" Type="http://schemas.openxmlformats.org/officeDocument/2006/relationships/hyperlink" Target="https://portal.attensi.com/finansforbundet/" TargetMode="Externa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80087F7-543F-4E32-8135-B1A651C8730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80087F7-543F-4E32-8135-B1A651C87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tel 11">
            <a:extLst>
              <a:ext uri="{FF2B5EF4-FFF2-40B4-BE49-F238E27FC236}">
                <a16:creationId xmlns:a16="http://schemas.microsoft.com/office/drawing/2014/main" id="{977ACAB3-1C9F-4634-9BB3-23A8B40F9E2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4062" y="1553897"/>
            <a:ext cx="5940742" cy="1107996"/>
          </a:xfrm>
        </p:spPr>
        <p:txBody>
          <a:bodyPr vert="horz">
            <a:normAutofit/>
          </a:bodyPr>
          <a:lstStyle/>
          <a:p>
            <a:r>
              <a:rPr lang="nb-NO" sz="2400" dirty="0"/>
              <a:t>Kompetanseportal</a:t>
            </a:r>
          </a:p>
        </p:txBody>
      </p:sp>
      <p:sp>
        <p:nvSpPr>
          <p:cNvPr id="13" name="Undertittel 12">
            <a:extLst>
              <a:ext uri="{FF2B5EF4-FFF2-40B4-BE49-F238E27FC236}">
                <a16:creationId xmlns:a16="http://schemas.microsoft.com/office/drawing/2014/main" id="{8C41F7B3-77FD-4B47-B897-9A16741A63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4061" y="2661892"/>
            <a:ext cx="3515489" cy="934433"/>
          </a:xfrm>
        </p:spPr>
        <p:txBody>
          <a:bodyPr>
            <a:normAutofit/>
          </a:bodyPr>
          <a:lstStyle/>
          <a:p>
            <a:r>
              <a:rPr lang="nb-NO" dirty="0"/>
              <a:t>Samler alle kompetansetilbud på ett sted for å gjøre læring og kurs lettere tilgjengelig for alle tillitsvalgte. </a:t>
            </a:r>
          </a:p>
        </p:txBody>
      </p:sp>
      <p:sp>
        <p:nvSpPr>
          <p:cNvPr id="15" name="Undertittel 12">
            <a:extLst>
              <a:ext uri="{FF2B5EF4-FFF2-40B4-BE49-F238E27FC236}">
                <a16:creationId xmlns:a16="http://schemas.microsoft.com/office/drawing/2014/main" id="{717015E4-90E7-4E64-BE4A-AB5773F1596A}"/>
              </a:ext>
            </a:extLst>
          </p:cNvPr>
          <p:cNvSpPr txBox="1">
            <a:spLocks/>
          </p:cNvSpPr>
          <p:nvPr/>
        </p:nvSpPr>
        <p:spPr>
          <a:xfrm>
            <a:off x="504063" y="2661893"/>
            <a:ext cx="5040630" cy="184666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sz="1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500" kern="1200">
                <a:solidFill>
                  <a:schemeClr val="dk2"/>
                </a:soli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350" kern="1200">
                <a:solidFill>
                  <a:schemeClr val="dk2"/>
                </a:soli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200" kern="1200">
                <a:solidFill>
                  <a:schemeClr val="dk2"/>
                </a:soli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1200" kern="1200">
                <a:solidFill>
                  <a:schemeClr val="dk2"/>
                </a:soli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484227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3CD2AE4-E924-4849-A278-557283DCEC3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" name="think-cell Slide" r:id="rId4" imgW="400" imgH="393" progId="TCLayout.ActiveDocument.1">
                  <p:embed/>
                </p:oleObj>
              </mc:Choice>
              <mc:Fallback>
                <p:oleObj name="think-cell Slide" r:id="rId4" imgW="400" imgH="39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3CD2AE4-E924-4849-A278-557283DCEC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F79C6972-D097-4F36-B8A1-38F92CCF0C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63" y="319778"/>
            <a:ext cx="8136700" cy="775597"/>
          </a:xfrm>
        </p:spPr>
        <p:txBody>
          <a:bodyPr vert="horz">
            <a:noAutofit/>
          </a:bodyPr>
          <a:lstStyle/>
          <a:p>
            <a:r>
              <a:rPr lang="nb-NO" dirty="0"/>
              <a:t>HVA ER DETTE? 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93143EFC-BB96-4B87-81F1-65C4AE66DA96}"/>
              </a:ext>
            </a:extLst>
          </p:cNvPr>
          <p:cNvGrpSpPr/>
          <p:nvPr/>
        </p:nvGrpSpPr>
        <p:grpSpPr>
          <a:xfrm>
            <a:off x="4978259" y="1386065"/>
            <a:ext cx="4165742" cy="3351035"/>
            <a:chOff x="4637912" y="1371424"/>
            <a:chExt cx="4439919" cy="3571591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4493DF8B-127B-42C3-AB42-7ECFC62452E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762500" y="1371424"/>
              <a:ext cx="4315331" cy="2545890"/>
            </a:xfrm>
            <a:prstGeom prst="rect">
              <a:avLst/>
            </a:prstGeom>
          </p:spPr>
        </p:pic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982D4489-8605-419C-8FEA-4CFE2D2FEB6A}"/>
                </a:ext>
              </a:extLst>
            </p:cNvPr>
            <p:cNvGrpSpPr/>
            <p:nvPr/>
          </p:nvGrpSpPr>
          <p:grpSpPr>
            <a:xfrm>
              <a:off x="4637912" y="2356200"/>
              <a:ext cx="1574123" cy="2586815"/>
              <a:chOff x="4447412" y="2419700"/>
              <a:chExt cx="1574123" cy="2586815"/>
            </a:xfrm>
          </p:grpSpPr>
          <p:pic>
            <p:nvPicPr>
              <p:cNvPr id="28" name="Picture 27" descr="A black cell phone&#10;&#10;Description automatically generated with low confidence">
                <a:extLst>
                  <a:ext uri="{FF2B5EF4-FFF2-40B4-BE49-F238E27FC236}">
                    <a16:creationId xmlns:a16="http://schemas.microsoft.com/office/drawing/2014/main" id="{7F0FE864-5941-412C-8A2E-41C3D10E665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447412" y="2419700"/>
                <a:ext cx="1574123" cy="2586815"/>
              </a:xfrm>
              <a:prstGeom prst="rect">
                <a:avLst/>
              </a:prstGeom>
            </p:spPr>
          </p:pic>
          <p:pic>
            <p:nvPicPr>
              <p:cNvPr id="29" name="Picture 28">
                <a:extLst>
                  <a:ext uri="{FF2B5EF4-FFF2-40B4-BE49-F238E27FC236}">
                    <a16:creationId xmlns:a16="http://schemas.microsoft.com/office/drawing/2014/main" id="{68DE10F7-DA13-4A97-9C21-14AFC6D832A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/>
              <a:srcRect b="16275"/>
              <a:stretch/>
            </p:blipFill>
            <p:spPr>
              <a:xfrm>
                <a:off x="4664272" y="2783399"/>
                <a:ext cx="1102306" cy="1840990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</p:grp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36B9D3FF-4BE1-4446-A989-E8862F3AD0D1}"/>
              </a:ext>
            </a:extLst>
          </p:cNvPr>
          <p:cNvSpPr txBox="1"/>
          <p:nvPr/>
        </p:nvSpPr>
        <p:spPr>
          <a:xfrm>
            <a:off x="503237" y="1137636"/>
            <a:ext cx="4310063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sz="1050" dirty="0">
                <a:solidFill>
                  <a:schemeClr val="accent1"/>
                </a:solidFill>
              </a:rPr>
              <a:t>Vi i Finansforbundet har laget en helt ny digital kompetanseplattform- for alle tillitsvalgte.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44DF5A2-EE30-4B1B-9B38-FBEB241A445C}"/>
              </a:ext>
            </a:extLst>
          </p:cNvPr>
          <p:cNvSpPr txBox="1"/>
          <p:nvPr/>
        </p:nvSpPr>
        <p:spPr>
          <a:xfrm>
            <a:off x="489099" y="1595395"/>
            <a:ext cx="4430713" cy="224676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 fontAlgn="base"/>
            <a:r>
              <a:rPr lang="nb-NO" sz="1000" b="0" i="1" u="none" strike="noStrike" dirty="0">
                <a:solidFill>
                  <a:srgbClr val="333F50"/>
                </a:solidFill>
                <a:effectLst/>
              </a:rPr>
              <a:t>Plattformen </a:t>
            </a:r>
            <a:r>
              <a:rPr lang="nb-NO" sz="1000" b="0" i="0" u="none" strike="noStrike" dirty="0">
                <a:solidFill>
                  <a:srgbClr val="333F50"/>
                </a:solidFill>
                <a:effectLst/>
              </a:rPr>
              <a:t>er en skreddersydd, spillbasert plattform utviklet av fagfolk på sekretariatet, eksterne bidragsytere og tillitsvalgte</a:t>
            </a:r>
          </a:p>
          <a:p>
            <a:pPr algn="l" fontAlgn="base"/>
            <a:endParaRPr lang="nb-NO" sz="1000" dirty="0">
              <a:solidFill>
                <a:srgbClr val="333F50"/>
              </a:solidFill>
            </a:endParaRPr>
          </a:p>
          <a:p>
            <a:pPr algn="l" fontAlgn="base"/>
            <a:r>
              <a:rPr lang="nb-NO" sz="1000" dirty="0">
                <a:solidFill>
                  <a:srgbClr val="333F50"/>
                </a:solidFill>
              </a:rPr>
              <a:t>Den består av to komponenter; en portal og en kunnskap- og kompetanseapp</a:t>
            </a:r>
          </a:p>
          <a:p>
            <a:pPr algn="l" fontAlgn="base"/>
            <a:endParaRPr lang="nb-NO" sz="1000" b="0" i="0" u="none" strike="noStrike" dirty="0">
              <a:solidFill>
                <a:srgbClr val="333F50"/>
              </a:solidFill>
              <a:effectLst/>
            </a:endParaRPr>
          </a:p>
          <a:p>
            <a:pPr algn="l" fontAlgn="base"/>
            <a:r>
              <a:rPr lang="nb-NO" sz="1000" dirty="0">
                <a:solidFill>
                  <a:srgbClr val="333F50"/>
                </a:solidFill>
              </a:rPr>
              <a:t>I første omgang har vi utviklet treningsmoduler i fire emner: Forhandling, GDPR, kommunikasjon og lønn</a:t>
            </a:r>
          </a:p>
          <a:p>
            <a:endParaRPr lang="nb-NO" sz="1000" dirty="0">
              <a:solidFill>
                <a:srgbClr val="333F50"/>
              </a:solidFill>
              <a:cs typeface="Arial"/>
            </a:endParaRPr>
          </a:p>
          <a:p>
            <a:r>
              <a:rPr lang="nb-NO" sz="1000" dirty="0">
                <a:solidFill>
                  <a:srgbClr val="333F50"/>
                </a:solidFill>
                <a:cs typeface="Arial"/>
              </a:rPr>
              <a:t>For hovedtillitsvalgte og opplæringsansvarlige inneholder portalen et administratorområde med oversikt over sine tillitsvalgtes gjennomførte kurs  og aktiviteter</a:t>
            </a:r>
          </a:p>
          <a:p>
            <a:endParaRPr lang="nb-NO" sz="1000" b="0" i="0" dirty="0">
              <a:solidFill>
                <a:srgbClr val="333F50"/>
              </a:solidFill>
              <a:effectLst/>
            </a:endParaRPr>
          </a:p>
          <a:p>
            <a:pPr algn="l" fontAlgn="base"/>
            <a:r>
              <a:rPr lang="nb-NO" sz="1000" dirty="0">
                <a:solidFill>
                  <a:srgbClr val="333F50"/>
                </a:solidFill>
              </a:rPr>
              <a:t>Kompetanseportalen er tilgjengelig på mobil, nettbrett og datamaskin</a:t>
            </a:r>
            <a:endParaRPr lang="nb-NO" sz="1000" b="0" i="0" dirty="0">
              <a:solidFill>
                <a:srgbClr val="000000"/>
              </a:solidFill>
              <a:effectLst/>
            </a:endParaRPr>
          </a:p>
        </p:txBody>
      </p:sp>
      <p:pic>
        <p:nvPicPr>
          <p:cNvPr id="34" name="Picture 33" descr="A picture containing text, clock&#10;&#10;Description automatically generated">
            <a:extLst>
              <a:ext uri="{FF2B5EF4-FFF2-40B4-BE49-F238E27FC236}">
                <a16:creationId xmlns:a16="http://schemas.microsoft.com/office/drawing/2014/main" id="{690837C6-A6BF-4DF9-A179-4D2C65E84F1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3414" y="4907590"/>
            <a:ext cx="769870" cy="215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11749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>
            <a:extLst>
              <a:ext uri="{FF2B5EF4-FFF2-40B4-BE49-F238E27FC236}">
                <a16:creationId xmlns:a16="http://schemas.microsoft.com/office/drawing/2014/main" id="{7E2501B7-5A85-4E4D-B163-334B1805CB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4139" y="1428314"/>
            <a:ext cx="1377399" cy="2981037"/>
          </a:xfrm>
          <a:prstGeom prst="rect">
            <a:avLst/>
          </a:prstGeom>
        </p:spPr>
      </p:pic>
      <p:pic>
        <p:nvPicPr>
          <p:cNvPr id="6" name="Bilde 5" descr="Et bilde som inneholder tekst, overvåke, skjerm, elektronikk&#10;&#10;Automatisk generert beskrivelse">
            <a:extLst>
              <a:ext uri="{FF2B5EF4-FFF2-40B4-BE49-F238E27FC236}">
                <a16:creationId xmlns:a16="http://schemas.microsoft.com/office/drawing/2014/main" id="{14CA0E41-C23D-489A-AD6D-F256EC8F55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0856" y="1428314"/>
            <a:ext cx="1377399" cy="2981036"/>
          </a:xfrm>
          <a:prstGeom prst="rect">
            <a:avLst/>
          </a:prstGeom>
        </p:spPr>
      </p:pic>
      <p:pic>
        <p:nvPicPr>
          <p:cNvPr id="9" name="Bilde 8" descr="Et bilde som inneholder tekst, skjermbilde, visittkort&#10;&#10;Automatisk generert beskrivelse">
            <a:extLst>
              <a:ext uri="{FF2B5EF4-FFF2-40B4-BE49-F238E27FC236}">
                <a16:creationId xmlns:a16="http://schemas.microsoft.com/office/drawing/2014/main" id="{B4002E91-AC28-4B63-A3CF-1E744C8F992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00571" y="1428314"/>
            <a:ext cx="1377399" cy="2981036"/>
          </a:xfrm>
          <a:prstGeom prst="rect">
            <a:avLst/>
          </a:prstGeom>
        </p:spPr>
      </p:pic>
      <p:pic>
        <p:nvPicPr>
          <p:cNvPr id="11" name="Bilde 10">
            <a:extLst>
              <a:ext uri="{FF2B5EF4-FFF2-40B4-BE49-F238E27FC236}">
                <a16:creationId xmlns:a16="http://schemas.microsoft.com/office/drawing/2014/main" id="{0DD57A5C-57BF-4149-B6FE-DA4999369CC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7458" y="1428314"/>
            <a:ext cx="1377399" cy="2981036"/>
          </a:xfrm>
          <a:prstGeom prst="rect">
            <a:avLst/>
          </a:prstGeom>
        </p:spPr>
      </p:pic>
      <p:sp>
        <p:nvSpPr>
          <p:cNvPr id="12" name="Pil: høyre 11">
            <a:extLst>
              <a:ext uri="{FF2B5EF4-FFF2-40B4-BE49-F238E27FC236}">
                <a16:creationId xmlns:a16="http://schemas.microsoft.com/office/drawing/2014/main" id="{9309ADF5-C660-4342-868F-C74A42A44458}"/>
              </a:ext>
            </a:extLst>
          </p:cNvPr>
          <p:cNvSpPr/>
          <p:nvPr/>
        </p:nvSpPr>
        <p:spPr>
          <a:xfrm>
            <a:off x="553000" y="645886"/>
            <a:ext cx="1236597" cy="782428"/>
          </a:xfrm>
          <a:prstGeom prst="rightArrow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600" dirty="0"/>
              <a:t>Søk på </a:t>
            </a:r>
            <a:r>
              <a:rPr lang="nb-NO" sz="600" dirty="0" err="1"/>
              <a:t>Attensi</a:t>
            </a:r>
            <a:r>
              <a:rPr lang="nb-NO" sz="600" dirty="0"/>
              <a:t> Portal i App Store/Google Play</a:t>
            </a:r>
          </a:p>
        </p:txBody>
      </p:sp>
      <p:sp>
        <p:nvSpPr>
          <p:cNvPr id="13" name="Pil: høyre 12">
            <a:extLst>
              <a:ext uri="{FF2B5EF4-FFF2-40B4-BE49-F238E27FC236}">
                <a16:creationId xmlns:a16="http://schemas.microsoft.com/office/drawing/2014/main" id="{27C91CC0-5C3F-4B96-AFE9-5691E57304D2}"/>
              </a:ext>
            </a:extLst>
          </p:cNvPr>
          <p:cNvSpPr/>
          <p:nvPr/>
        </p:nvSpPr>
        <p:spPr>
          <a:xfrm>
            <a:off x="2151488" y="734148"/>
            <a:ext cx="1377399" cy="694165"/>
          </a:xfrm>
          <a:prstGeom prst="rightArrow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800" dirty="0"/>
              <a:t>Skriv Finansforbundet</a:t>
            </a:r>
          </a:p>
        </p:txBody>
      </p:sp>
      <p:sp>
        <p:nvSpPr>
          <p:cNvPr id="14" name="Pil: høyre 13">
            <a:extLst>
              <a:ext uri="{FF2B5EF4-FFF2-40B4-BE49-F238E27FC236}">
                <a16:creationId xmlns:a16="http://schemas.microsoft.com/office/drawing/2014/main" id="{96521F3A-81BA-460D-98B4-2E705A5A431C}"/>
              </a:ext>
            </a:extLst>
          </p:cNvPr>
          <p:cNvSpPr/>
          <p:nvPr/>
        </p:nvSpPr>
        <p:spPr>
          <a:xfrm>
            <a:off x="4127921" y="734149"/>
            <a:ext cx="1377399" cy="694163"/>
          </a:xfrm>
          <a:prstGeom prst="rightArrow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800" dirty="0"/>
              <a:t>Velg </a:t>
            </a:r>
            <a:r>
              <a:rPr lang="nb-NO" sz="800" dirty="0" err="1"/>
              <a:t>tlf</a:t>
            </a:r>
            <a:r>
              <a:rPr lang="nb-NO" sz="800" dirty="0"/>
              <a:t> </a:t>
            </a:r>
            <a:r>
              <a:rPr lang="nb-NO" sz="800" dirty="0" err="1"/>
              <a:t>nr</a:t>
            </a:r>
            <a:r>
              <a:rPr lang="nb-NO" sz="800" dirty="0"/>
              <a:t> eller epost</a:t>
            </a:r>
          </a:p>
        </p:txBody>
      </p:sp>
      <p:sp>
        <p:nvSpPr>
          <p:cNvPr id="15" name="Pil: høyre 14">
            <a:extLst>
              <a:ext uri="{FF2B5EF4-FFF2-40B4-BE49-F238E27FC236}">
                <a16:creationId xmlns:a16="http://schemas.microsoft.com/office/drawing/2014/main" id="{31B72114-6D4E-413B-BBE6-4CFF8F32F5C2}"/>
              </a:ext>
            </a:extLst>
          </p:cNvPr>
          <p:cNvSpPr/>
          <p:nvPr/>
        </p:nvSpPr>
        <p:spPr>
          <a:xfrm>
            <a:off x="6104354" y="734148"/>
            <a:ext cx="1435817" cy="694166"/>
          </a:xfrm>
          <a:prstGeom prst="rightArrow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/>
              <a:t>Fyll inn og send kode</a:t>
            </a:r>
          </a:p>
        </p:txBody>
      </p:sp>
      <p:sp>
        <p:nvSpPr>
          <p:cNvPr id="16" name="TekstSylinder 15">
            <a:extLst>
              <a:ext uri="{FF2B5EF4-FFF2-40B4-BE49-F238E27FC236}">
                <a16:creationId xmlns:a16="http://schemas.microsoft.com/office/drawing/2014/main" id="{6021D22E-1CE4-4011-99CB-C24AF7EDB1C2}"/>
              </a:ext>
            </a:extLst>
          </p:cNvPr>
          <p:cNvSpPr txBox="1"/>
          <p:nvPr/>
        </p:nvSpPr>
        <p:spPr>
          <a:xfrm>
            <a:off x="1725748" y="237024"/>
            <a:ext cx="4371710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b="1" dirty="0">
                <a:solidFill>
                  <a:schemeClr val="bg1"/>
                </a:solidFill>
              </a:rPr>
              <a:t>Slik laster du ned </a:t>
            </a:r>
            <a:r>
              <a:rPr lang="nb-NO" b="1" dirty="0" err="1">
                <a:solidFill>
                  <a:schemeClr val="bg1"/>
                </a:solidFill>
              </a:rPr>
              <a:t>Attensi</a:t>
            </a:r>
            <a:r>
              <a:rPr lang="nb-NO" b="1" dirty="0">
                <a:solidFill>
                  <a:schemeClr val="bg1"/>
                </a:solidFill>
              </a:rPr>
              <a:t> Portal til din mobiltelefon</a:t>
            </a:r>
          </a:p>
        </p:txBody>
      </p:sp>
    </p:spTree>
    <p:extLst>
      <p:ext uri="{BB962C8B-B14F-4D97-AF65-F5344CB8AC3E}">
        <p14:creationId xmlns:p14="http://schemas.microsoft.com/office/powerpoint/2010/main" val="37980432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818B4A33-C6BF-4233-815A-888C2257DA2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818B4A33-C6BF-4233-815A-888C2257DA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tel 8">
            <a:extLst>
              <a:ext uri="{FF2B5EF4-FFF2-40B4-BE49-F238E27FC236}">
                <a16:creationId xmlns:a16="http://schemas.microsoft.com/office/drawing/2014/main" id="{86F87F76-DB11-4D91-93B5-D5E20B8E11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63" y="319778"/>
            <a:ext cx="7886699" cy="775597"/>
          </a:xfrm>
        </p:spPr>
        <p:txBody>
          <a:bodyPr vert="horz">
            <a:noAutofit/>
          </a:bodyPr>
          <a:lstStyle/>
          <a:p>
            <a:r>
              <a:rPr lang="nb-NO"/>
              <a:t>BYGG KOMPETANSE MED SPILL OG INTERAKTIVE UTFORDRINGER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C50FB429-D766-4837-8E72-30E63ECDCD8F}"/>
              </a:ext>
            </a:extLst>
          </p:cNvPr>
          <p:cNvGrpSpPr/>
          <p:nvPr/>
        </p:nvGrpSpPr>
        <p:grpSpPr>
          <a:xfrm>
            <a:off x="368300" y="1251872"/>
            <a:ext cx="1574122" cy="3066339"/>
            <a:chOff x="300016" y="1027311"/>
            <a:chExt cx="2000605" cy="3897113"/>
          </a:xfrm>
        </p:grpSpPr>
        <p:pic>
          <p:nvPicPr>
            <p:cNvPr id="19" name="Picture 18" descr="A black cell phone&#10;&#10;Description automatically generated with low confidence">
              <a:extLst>
                <a:ext uri="{FF2B5EF4-FFF2-40B4-BE49-F238E27FC236}">
                  <a16:creationId xmlns:a16="http://schemas.microsoft.com/office/drawing/2014/main" id="{AB320D34-1F27-48F4-86E2-C177FC5F3A3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00016" y="1027311"/>
              <a:ext cx="2000605" cy="3897113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4A7D1DC1-C491-4225-B360-84236AFEF32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60465" y="1561299"/>
              <a:ext cx="1420384" cy="2794606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EFE1D584-2C55-40B8-BB1D-F0F20B037656}"/>
              </a:ext>
            </a:extLst>
          </p:cNvPr>
          <p:cNvGrpSpPr/>
          <p:nvPr/>
        </p:nvGrpSpPr>
        <p:grpSpPr>
          <a:xfrm>
            <a:off x="1733339" y="1251872"/>
            <a:ext cx="1574123" cy="3066339"/>
            <a:chOff x="2082122" y="1582072"/>
            <a:chExt cx="1574123" cy="3066339"/>
          </a:xfrm>
        </p:grpSpPr>
        <p:pic>
          <p:nvPicPr>
            <p:cNvPr id="23" name="Picture 22" descr="A black cell phone&#10;&#10;Description automatically generated with low confidence">
              <a:extLst>
                <a:ext uri="{FF2B5EF4-FFF2-40B4-BE49-F238E27FC236}">
                  <a16:creationId xmlns:a16="http://schemas.microsoft.com/office/drawing/2014/main" id="{65D54E3B-418F-45D7-9145-A57053B5205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082122" y="1582072"/>
              <a:ext cx="1574123" cy="3066339"/>
            </a:xfrm>
            <a:prstGeom prst="rect">
              <a:avLst/>
            </a:prstGeom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6C5E61DF-0EEA-4D60-A788-F925A6A23B7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299404" y="2009154"/>
              <a:ext cx="1102306" cy="2198861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2E8F6988-A336-45A6-BEA5-50A2915A7FD6}"/>
              </a:ext>
            </a:extLst>
          </p:cNvPr>
          <p:cNvGrpSpPr/>
          <p:nvPr/>
        </p:nvGrpSpPr>
        <p:grpSpPr>
          <a:xfrm>
            <a:off x="3098379" y="1251872"/>
            <a:ext cx="1574123" cy="3066339"/>
            <a:chOff x="3656244" y="1582072"/>
            <a:chExt cx="1574123" cy="3066339"/>
          </a:xfrm>
        </p:grpSpPr>
        <p:pic>
          <p:nvPicPr>
            <p:cNvPr id="21" name="Picture 20" descr="A black cell phone&#10;&#10;Description automatically generated with low confidence">
              <a:extLst>
                <a:ext uri="{FF2B5EF4-FFF2-40B4-BE49-F238E27FC236}">
                  <a16:creationId xmlns:a16="http://schemas.microsoft.com/office/drawing/2014/main" id="{CCDB22F3-7E7D-4C90-ABF2-A4E00B12173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656244" y="1582072"/>
              <a:ext cx="1574123" cy="3066339"/>
            </a:xfrm>
            <a:prstGeom prst="rect">
              <a:avLst/>
            </a:prstGeom>
          </p:spPr>
        </p:pic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3D51F1AB-C950-422C-A603-5A336BAEC62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3864839" y="2002224"/>
              <a:ext cx="1123249" cy="2198861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1615FC41-406C-4CA8-89DC-0E386CECDE75}"/>
              </a:ext>
            </a:extLst>
          </p:cNvPr>
          <p:cNvGrpSpPr/>
          <p:nvPr/>
        </p:nvGrpSpPr>
        <p:grpSpPr>
          <a:xfrm>
            <a:off x="4463419" y="1251872"/>
            <a:ext cx="1574123" cy="3066339"/>
            <a:chOff x="5230366" y="1582072"/>
            <a:chExt cx="1574123" cy="3066339"/>
          </a:xfrm>
        </p:grpSpPr>
        <p:pic>
          <p:nvPicPr>
            <p:cNvPr id="22" name="Picture 21" descr="A black cell phone&#10;&#10;Description automatically generated with low confidence">
              <a:extLst>
                <a:ext uri="{FF2B5EF4-FFF2-40B4-BE49-F238E27FC236}">
                  <a16:creationId xmlns:a16="http://schemas.microsoft.com/office/drawing/2014/main" id="{B02BDFF3-119F-4652-9844-9821261E646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230366" y="1582072"/>
              <a:ext cx="1574123" cy="3066339"/>
            </a:xfrm>
            <a:prstGeom prst="rect">
              <a:avLst/>
            </a:prstGeom>
          </p:spPr>
        </p:pic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7DE02013-12EF-48FE-BFCE-3D1D2B6E61E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5443675" y="2013868"/>
              <a:ext cx="1113629" cy="2187217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52F0A260-9FF7-41D9-9622-CD6CE5F87C69}"/>
              </a:ext>
            </a:extLst>
          </p:cNvPr>
          <p:cNvGrpSpPr/>
          <p:nvPr/>
        </p:nvGrpSpPr>
        <p:grpSpPr>
          <a:xfrm>
            <a:off x="7193500" y="1251872"/>
            <a:ext cx="1574123" cy="3066339"/>
            <a:chOff x="6804489" y="1582072"/>
            <a:chExt cx="1574123" cy="3066339"/>
          </a:xfrm>
        </p:grpSpPr>
        <p:pic>
          <p:nvPicPr>
            <p:cNvPr id="44" name="Picture 43" descr="A black cell phone&#10;&#10;Description automatically generated with low confidence">
              <a:extLst>
                <a:ext uri="{FF2B5EF4-FFF2-40B4-BE49-F238E27FC236}">
                  <a16:creationId xmlns:a16="http://schemas.microsoft.com/office/drawing/2014/main" id="{6DBBA10F-0AC2-453A-9544-5D2935A7E96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804489" y="1582072"/>
              <a:ext cx="1574123" cy="3066339"/>
            </a:xfrm>
            <a:prstGeom prst="rect">
              <a:avLst/>
            </a:prstGeom>
          </p:spPr>
        </p:pic>
        <p:pic>
          <p:nvPicPr>
            <p:cNvPr id="45" name="Picture 44">
              <a:extLst>
                <a:ext uri="{FF2B5EF4-FFF2-40B4-BE49-F238E27FC236}">
                  <a16:creationId xmlns:a16="http://schemas.microsoft.com/office/drawing/2014/main" id="{1F48365A-0FF0-4FAF-A998-5C207C55DEA1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7017797" y="2009153"/>
              <a:ext cx="1108476" cy="2191931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FA1428BE-A68C-46DF-8AD1-9ED2A589B1E4}"/>
              </a:ext>
            </a:extLst>
          </p:cNvPr>
          <p:cNvGrpSpPr/>
          <p:nvPr/>
        </p:nvGrpSpPr>
        <p:grpSpPr>
          <a:xfrm>
            <a:off x="5828459" y="1251872"/>
            <a:ext cx="1574123" cy="3066339"/>
            <a:chOff x="5667615" y="1251872"/>
            <a:chExt cx="1574123" cy="3066339"/>
          </a:xfrm>
        </p:grpSpPr>
        <p:pic>
          <p:nvPicPr>
            <p:cNvPr id="24" name="Picture 23" descr="A black cell phone&#10;&#10;Description automatically generated with low confidence">
              <a:extLst>
                <a:ext uri="{FF2B5EF4-FFF2-40B4-BE49-F238E27FC236}">
                  <a16:creationId xmlns:a16="http://schemas.microsoft.com/office/drawing/2014/main" id="{0E6F9A86-8AF9-4E4E-AA8E-97416BC3BCE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667615" y="1251872"/>
              <a:ext cx="1574123" cy="3066339"/>
            </a:xfrm>
            <a:prstGeom prst="rect">
              <a:avLst/>
            </a:prstGeom>
          </p:spPr>
        </p:pic>
        <p:pic>
          <p:nvPicPr>
            <p:cNvPr id="47" name="Picture 46">
              <a:extLst>
                <a:ext uri="{FF2B5EF4-FFF2-40B4-BE49-F238E27FC236}">
                  <a16:creationId xmlns:a16="http://schemas.microsoft.com/office/drawing/2014/main" id="{339CDB40-F5C2-4073-9144-26D41815DBC8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5880289" y="1678953"/>
              <a:ext cx="1109743" cy="2191931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</p:grpSp>
      <p:sp>
        <p:nvSpPr>
          <p:cNvPr id="5" name="Arrow: Pentagon 4">
            <a:extLst>
              <a:ext uri="{FF2B5EF4-FFF2-40B4-BE49-F238E27FC236}">
                <a16:creationId xmlns:a16="http://schemas.microsoft.com/office/drawing/2014/main" id="{97F64D97-A8C5-4BC5-9C81-3CE5C2723E7A}"/>
              </a:ext>
            </a:extLst>
          </p:cNvPr>
          <p:cNvSpPr/>
          <p:nvPr/>
        </p:nvSpPr>
        <p:spPr>
          <a:xfrm>
            <a:off x="546577" y="4318212"/>
            <a:ext cx="1178565" cy="534252"/>
          </a:xfrm>
          <a:prstGeom prst="homePlat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600"/>
              <a:t>Enkel tilgang på alle plattformer</a:t>
            </a:r>
          </a:p>
        </p:txBody>
      </p:sp>
      <p:sp>
        <p:nvSpPr>
          <p:cNvPr id="25" name="Arrow: Pentagon 24">
            <a:extLst>
              <a:ext uri="{FF2B5EF4-FFF2-40B4-BE49-F238E27FC236}">
                <a16:creationId xmlns:a16="http://schemas.microsoft.com/office/drawing/2014/main" id="{A0AC1F5A-A46F-4DC3-AEF1-BB8688F62369}"/>
              </a:ext>
            </a:extLst>
          </p:cNvPr>
          <p:cNvSpPr/>
          <p:nvPr/>
        </p:nvSpPr>
        <p:spPr>
          <a:xfrm>
            <a:off x="1918629" y="4318212"/>
            <a:ext cx="1178565" cy="534252"/>
          </a:xfrm>
          <a:prstGeom prst="homePlat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600"/>
              <a:t>Relevant kompetansetrening,</a:t>
            </a:r>
            <a:br>
              <a:rPr lang="nb-NO" sz="600"/>
            </a:br>
            <a:r>
              <a:rPr lang="nb-NO" sz="600"/>
              <a:t>rett i lomma!</a:t>
            </a:r>
          </a:p>
        </p:txBody>
      </p:sp>
      <p:sp>
        <p:nvSpPr>
          <p:cNvPr id="27" name="Arrow: Pentagon 26">
            <a:extLst>
              <a:ext uri="{FF2B5EF4-FFF2-40B4-BE49-F238E27FC236}">
                <a16:creationId xmlns:a16="http://schemas.microsoft.com/office/drawing/2014/main" id="{30D919BB-5186-4D51-BC8C-BBD2A0881BAF}"/>
              </a:ext>
            </a:extLst>
          </p:cNvPr>
          <p:cNvSpPr/>
          <p:nvPr/>
        </p:nvSpPr>
        <p:spPr>
          <a:xfrm>
            <a:off x="3290681" y="4318212"/>
            <a:ext cx="1178565" cy="534252"/>
          </a:xfrm>
          <a:prstGeom prst="homePlat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600"/>
              <a:t>Tren på relevante emner som oppdateres og utvides løpende</a:t>
            </a:r>
          </a:p>
        </p:txBody>
      </p:sp>
      <p:sp>
        <p:nvSpPr>
          <p:cNvPr id="28" name="Arrow: Pentagon 27">
            <a:extLst>
              <a:ext uri="{FF2B5EF4-FFF2-40B4-BE49-F238E27FC236}">
                <a16:creationId xmlns:a16="http://schemas.microsoft.com/office/drawing/2014/main" id="{70C79E75-762C-4F32-9F3E-13B71A7541D5}"/>
              </a:ext>
            </a:extLst>
          </p:cNvPr>
          <p:cNvSpPr/>
          <p:nvPr/>
        </p:nvSpPr>
        <p:spPr>
          <a:xfrm>
            <a:off x="4662733" y="4318212"/>
            <a:ext cx="1178565" cy="534252"/>
          </a:xfrm>
          <a:prstGeom prst="homePlat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600" dirty="0"/>
              <a:t>Korte, engasjerende </a:t>
            </a:r>
            <a:r>
              <a:rPr lang="nb-NO" sz="600" dirty="0" err="1"/>
              <a:t>spillmoduler</a:t>
            </a:r>
            <a:r>
              <a:rPr lang="nb-NO" sz="600" dirty="0"/>
              <a:t> designet for repetisjon og mestring</a:t>
            </a:r>
          </a:p>
        </p:txBody>
      </p:sp>
      <p:sp>
        <p:nvSpPr>
          <p:cNvPr id="29" name="Arrow: Pentagon 28">
            <a:extLst>
              <a:ext uri="{FF2B5EF4-FFF2-40B4-BE49-F238E27FC236}">
                <a16:creationId xmlns:a16="http://schemas.microsoft.com/office/drawing/2014/main" id="{4B4BD022-27E6-4C6D-BE3A-3D8F179BA760}"/>
              </a:ext>
            </a:extLst>
          </p:cNvPr>
          <p:cNvSpPr/>
          <p:nvPr/>
        </p:nvSpPr>
        <p:spPr>
          <a:xfrm>
            <a:off x="6034785" y="4318212"/>
            <a:ext cx="1178565" cy="534252"/>
          </a:xfrm>
          <a:prstGeom prst="homePlat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600" dirty="0"/>
              <a:t>Øv på teoretisk og praktisk kunnskap med varierte spill</a:t>
            </a:r>
          </a:p>
        </p:txBody>
      </p:sp>
      <p:sp>
        <p:nvSpPr>
          <p:cNvPr id="31" name="Arrow: Pentagon 30">
            <a:extLst>
              <a:ext uri="{FF2B5EF4-FFF2-40B4-BE49-F238E27FC236}">
                <a16:creationId xmlns:a16="http://schemas.microsoft.com/office/drawing/2014/main" id="{13185092-F5B1-4B16-8797-E1EA0E2CB73F}"/>
              </a:ext>
            </a:extLst>
          </p:cNvPr>
          <p:cNvSpPr/>
          <p:nvPr/>
        </p:nvSpPr>
        <p:spPr>
          <a:xfrm>
            <a:off x="7406838" y="4318212"/>
            <a:ext cx="1178565" cy="534252"/>
          </a:xfrm>
          <a:prstGeom prst="homePlat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600"/>
              <a:t>Interaktive dialoger for å anvende kunnskap</a:t>
            </a: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A2F352A1-A9ED-415F-9863-03BFCA63A41A}"/>
              </a:ext>
            </a:extLst>
          </p:cNvPr>
          <p:cNvSpPr/>
          <p:nvPr/>
        </p:nvSpPr>
        <p:spPr>
          <a:xfrm>
            <a:off x="1" y="0"/>
            <a:ext cx="92074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504746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0D19590E-22A6-4B41-91C6-7FD6D6DF7B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037"/>
            <a:ext cx="9144000" cy="51445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15868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D6D7057-76DD-4C4D-B5F9-CCE143183D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6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D6D7057-76DD-4C4D-B5F9-CCE143183D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C49B59-836A-4CA3-B682-993CAA3011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7949" y="51264"/>
            <a:ext cx="7886699" cy="775597"/>
          </a:xfrm>
        </p:spPr>
        <p:txBody>
          <a:bodyPr vert="horz"/>
          <a:lstStyle/>
          <a:p>
            <a:r>
              <a:rPr lang="nb-NO" dirty="0"/>
              <a:t>Konkurranse</a:t>
            </a: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0713B948-A136-4190-88AF-51B27FA21EAD}"/>
              </a:ext>
            </a:extLst>
          </p:cNvPr>
          <p:cNvSpPr txBox="1"/>
          <p:nvPr/>
        </p:nvSpPr>
        <p:spPr>
          <a:xfrm>
            <a:off x="994229" y="1306251"/>
            <a:ext cx="5387704" cy="30008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nb-NO" dirty="0"/>
          </a:p>
          <a:p>
            <a:endParaRPr lang="nb-NO" dirty="0"/>
          </a:p>
          <a:p>
            <a:pPr marL="342900" indent="-342900">
              <a:buAutoNum type="arabicParenR"/>
            </a:pPr>
            <a:r>
              <a:rPr lang="nb-NO" dirty="0"/>
              <a:t>Vi trekker en vinner blant alle bedriftene der mer enn 50% av de tillitsvalgte har spilt alle de fire første spillene innen utgangen av januar.</a:t>
            </a:r>
          </a:p>
          <a:p>
            <a:pPr marL="342900" indent="-342900">
              <a:buAutoNum type="arabicParenR"/>
            </a:pPr>
            <a:endParaRPr lang="nb-NO" dirty="0"/>
          </a:p>
          <a:p>
            <a:pPr marL="342900" indent="-342900">
              <a:buAutoNum type="arabicParenR"/>
            </a:pPr>
            <a:r>
              <a:rPr lang="nb-NO" dirty="0"/>
              <a:t>En individuell konkurranse for hvert spill som slippes. Der handler det om høyest poengsum. Vi kårer vinnerne når vi lanserer kommunikasjonsspillet i desember. Vi kårer tre vinnere blant de som ligger på topp 3 (med navn) på den globale ledertavlen!</a:t>
            </a:r>
          </a:p>
          <a:p>
            <a:endParaRPr lang="nb-NO" dirty="0"/>
          </a:p>
          <a:p>
            <a:r>
              <a:rPr lang="nb-NO" dirty="0"/>
              <a:t>I tillegg trekker vi en tilfeldig spiller blant ALLE som har spilt, som også får en fantastisk premie!</a:t>
            </a:r>
          </a:p>
        </p:txBody>
      </p:sp>
      <p:pic>
        <p:nvPicPr>
          <p:cNvPr id="7" name="Grafikk 6" descr="Podium med heldekkende fyll">
            <a:extLst>
              <a:ext uri="{FF2B5EF4-FFF2-40B4-BE49-F238E27FC236}">
                <a16:creationId xmlns:a16="http://schemas.microsoft.com/office/drawing/2014/main" id="{6A60DC30-CD79-4A35-9304-78277BB3E88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222092" y="2477495"/>
            <a:ext cx="2650073" cy="2650073"/>
          </a:xfrm>
          <a:prstGeom prst="rect">
            <a:avLst/>
          </a:prstGeom>
        </p:spPr>
      </p:pic>
      <p:pic>
        <p:nvPicPr>
          <p:cNvPr id="9" name="Grafikk 8" descr="Pokal med heldekkende fyll">
            <a:extLst>
              <a:ext uri="{FF2B5EF4-FFF2-40B4-BE49-F238E27FC236}">
                <a16:creationId xmlns:a16="http://schemas.microsoft.com/office/drawing/2014/main" id="{F150C581-767B-4FCA-9C84-3F3CF2F3947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863296" y="765078"/>
            <a:ext cx="1367663" cy="1367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73767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6795781-8A09-40AE-A729-0CBCF05A88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Lenke til Portal og Skills i nettleser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AE895FD8-A5E3-42BC-9267-7863A25E7C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nb-NO" dirty="0">
                <a:hlinkClick r:id="rId2"/>
              </a:rPr>
              <a:t>https://portal.attensi.com/finansforbundet/</a:t>
            </a:r>
            <a:endParaRPr lang="nb-NO" dirty="0"/>
          </a:p>
          <a:p>
            <a:r>
              <a:rPr lang="nb-NO" dirty="0">
                <a:hlinkClick r:id="rId3"/>
              </a:rPr>
              <a:t>https://portal.attensi.com/finansforbundet/product/7148</a:t>
            </a:r>
            <a:endParaRPr lang="nb-NO" dirty="0"/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66051845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068681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Finansforbundet">
      <a:dk1>
        <a:sysClr val="windowText" lastClr="000000"/>
      </a:dk1>
      <a:lt1>
        <a:sysClr val="window" lastClr="FFFFFF"/>
      </a:lt1>
      <a:dk2>
        <a:srgbClr val="333333"/>
      </a:dk2>
      <a:lt2>
        <a:srgbClr val="F7F2EF"/>
      </a:lt2>
      <a:accent1>
        <a:srgbClr val="158760"/>
      </a:accent1>
      <a:accent2>
        <a:srgbClr val="074646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" id="{BB341B64-E884-6A49-AB9C-79AA0F4E4C75}" vid="{E398FA29-BCBA-A144-BDBF-8DD756DEE3B1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96C74C4CD406014E9D0B44C5766F72D4" ma:contentTypeVersion="0" ma:contentTypeDescription="Opprett et nytt dokument." ma:contentTypeScope="" ma:versionID="998765a7ef8e3f3efd63a612c7ea766f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309a1d8d0369f09b0300709cb4a6cc9a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F0696D7-69B3-40CB-A520-D210E3B9E7F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220BFED-A819-4D71-ACAB-C3750CB7DE5C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AFC46B58-B303-4E71-8B1D-346F80D9FE3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inansforbundet-PPT-mal-2021</Template>
  <TotalTime>4336</TotalTime>
  <Words>320</Words>
  <Application>Microsoft Office PowerPoint</Application>
  <PresentationFormat>Skjermfremvisning (16:9)</PresentationFormat>
  <Paragraphs>37</Paragraphs>
  <Slides>8</Slides>
  <Notes>1</Notes>
  <HiddenSlides>0</HiddenSlides>
  <MMClips>0</MMClips>
  <ScaleCrop>false</ScaleCrop>
  <HeadingPairs>
    <vt:vector size="8" baseType="variant">
      <vt:variant>
        <vt:lpstr>Brukte skrifter</vt:lpstr>
      </vt:variant>
      <vt:variant>
        <vt:i4>3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8</vt:i4>
      </vt:variant>
    </vt:vector>
  </HeadingPairs>
  <TitlesOfParts>
    <vt:vector size="13" baseType="lpstr">
      <vt:lpstr>Arial</vt:lpstr>
      <vt:lpstr>Calibri</vt:lpstr>
      <vt:lpstr>Wingdings</vt:lpstr>
      <vt:lpstr>Office-tema</vt:lpstr>
      <vt:lpstr>think-cell Slide</vt:lpstr>
      <vt:lpstr>Kompetanseportal</vt:lpstr>
      <vt:lpstr>HVA ER DETTE? </vt:lpstr>
      <vt:lpstr>PowerPoint-presentasjon</vt:lpstr>
      <vt:lpstr>BYGG KOMPETANSE MED SPILL OG INTERAKTIVE UTFORDRINGER</vt:lpstr>
      <vt:lpstr>PowerPoint-presentasjon</vt:lpstr>
      <vt:lpstr>Konkurranse</vt:lpstr>
      <vt:lpstr>Lenke til Portal og Skills i nettleser</vt:lpstr>
      <vt:lpstr>PowerPoint-presentasj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Kjersti E. Aronsen</dc:creator>
  <cp:lastModifiedBy>Marta Hole Greve</cp:lastModifiedBy>
  <cp:revision>37</cp:revision>
  <dcterms:created xsi:type="dcterms:W3CDTF">2021-05-26T12:21:27Z</dcterms:created>
  <dcterms:modified xsi:type="dcterms:W3CDTF">2021-10-27T10:15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6C74C4CD406014E9D0B44C5766F72D4</vt:lpwstr>
  </property>
</Properties>
</file>